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07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54A073-4CFB-92A9-C823-992266F67B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78E8739C-3F35-0DDF-EB7F-DC4E56CCB7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8E8739C-3F35-0DDF-EB7F-DC4E56CCB7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D8A00C8-9A78-F327-BAAC-433EB33C7F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unnel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FD027F1-B32E-9D2D-DDBD-919EE7920D0A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3" name="กลุ่ม 27">
            <a:extLst>
              <a:ext uri="{FF2B5EF4-FFF2-40B4-BE49-F238E27FC236}">
                <a16:creationId xmlns:a16="http://schemas.microsoft.com/office/drawing/2014/main" id="{5121DA87-9CEB-2284-3126-FD9D9FF428B6}"/>
              </a:ext>
            </a:extLst>
          </p:cNvPr>
          <p:cNvGrpSpPr/>
          <p:nvPr/>
        </p:nvGrpSpPr>
        <p:grpSpPr>
          <a:xfrm rot="16200000">
            <a:off x="5148087" y="451124"/>
            <a:ext cx="3840936" cy="6495554"/>
            <a:chOff x="9793288" y="4267200"/>
            <a:chExt cx="5535612" cy="9361488"/>
          </a:xfrm>
          <a:effectLst/>
        </p:grpSpPr>
        <p:sp>
          <p:nvSpPr>
            <p:cNvPr id="5" name="Oval 6">
              <a:extLst>
                <a:ext uri="{FF2B5EF4-FFF2-40B4-BE49-F238E27FC236}">
                  <a16:creationId xmlns:a16="http://schemas.microsoft.com/office/drawing/2014/main" id="{CC17932D-44EC-7E6C-918F-E42444540C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93288" y="6731000"/>
              <a:ext cx="5535612" cy="528638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59E5C080-BBC9-5D54-43B3-A50C5AD314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44488" y="4267200"/>
              <a:ext cx="1981200" cy="2463800"/>
            </a:xfrm>
            <a:custGeom>
              <a:avLst/>
              <a:gdLst>
                <a:gd name="T0" fmla="*/ 170 w 176"/>
                <a:gd name="T1" fmla="*/ 0 h 219"/>
                <a:gd name="T2" fmla="*/ 164 w 176"/>
                <a:gd name="T3" fmla="*/ 6 h 219"/>
                <a:gd name="T4" fmla="*/ 164 w 176"/>
                <a:gd name="T5" fmla="*/ 96 h 219"/>
                <a:gd name="T6" fmla="*/ 150 w 176"/>
                <a:gd name="T7" fmla="*/ 128 h 219"/>
                <a:gd name="T8" fmla="*/ 123 w 176"/>
                <a:gd name="T9" fmla="*/ 143 h 219"/>
                <a:gd name="T10" fmla="*/ 65 w 176"/>
                <a:gd name="T11" fmla="*/ 143 h 219"/>
                <a:gd name="T12" fmla="*/ 8 w 176"/>
                <a:gd name="T13" fmla="*/ 179 h 219"/>
                <a:gd name="T14" fmla="*/ 0 w 176"/>
                <a:gd name="T15" fmla="*/ 213 h 219"/>
                <a:gd name="T16" fmla="*/ 6 w 176"/>
                <a:gd name="T17" fmla="*/ 219 h 219"/>
                <a:gd name="T18" fmla="*/ 6 w 176"/>
                <a:gd name="T19" fmla="*/ 219 h 219"/>
                <a:gd name="T20" fmla="*/ 12 w 176"/>
                <a:gd name="T21" fmla="*/ 213 h 219"/>
                <a:gd name="T22" fmla="*/ 20 w 176"/>
                <a:gd name="T23" fmla="*/ 184 h 219"/>
                <a:gd name="T24" fmla="*/ 65 w 176"/>
                <a:gd name="T25" fmla="*/ 156 h 219"/>
                <a:gd name="T26" fmla="*/ 124 w 176"/>
                <a:gd name="T27" fmla="*/ 156 h 219"/>
                <a:gd name="T28" fmla="*/ 125 w 176"/>
                <a:gd name="T29" fmla="*/ 156 h 219"/>
                <a:gd name="T30" fmla="*/ 159 w 176"/>
                <a:gd name="T31" fmla="*/ 137 h 219"/>
                <a:gd name="T32" fmla="*/ 176 w 176"/>
                <a:gd name="T33" fmla="*/ 96 h 219"/>
                <a:gd name="T34" fmla="*/ 176 w 176"/>
                <a:gd name="T35" fmla="*/ 6 h 219"/>
                <a:gd name="T36" fmla="*/ 170 w 176"/>
                <a:gd name="T37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6" h="219">
                  <a:moveTo>
                    <a:pt x="170" y="0"/>
                  </a:moveTo>
                  <a:cubicBezTo>
                    <a:pt x="167" y="0"/>
                    <a:pt x="164" y="3"/>
                    <a:pt x="164" y="6"/>
                  </a:cubicBezTo>
                  <a:cubicBezTo>
                    <a:pt x="164" y="96"/>
                    <a:pt x="164" y="96"/>
                    <a:pt x="164" y="96"/>
                  </a:cubicBezTo>
                  <a:cubicBezTo>
                    <a:pt x="164" y="108"/>
                    <a:pt x="159" y="120"/>
                    <a:pt x="150" y="128"/>
                  </a:cubicBezTo>
                  <a:cubicBezTo>
                    <a:pt x="140" y="138"/>
                    <a:pt x="126" y="142"/>
                    <a:pt x="123" y="143"/>
                  </a:cubicBezTo>
                  <a:cubicBezTo>
                    <a:pt x="65" y="143"/>
                    <a:pt x="65" y="143"/>
                    <a:pt x="65" y="143"/>
                  </a:cubicBezTo>
                  <a:cubicBezTo>
                    <a:pt x="32" y="143"/>
                    <a:pt x="16" y="162"/>
                    <a:pt x="8" y="179"/>
                  </a:cubicBezTo>
                  <a:cubicBezTo>
                    <a:pt x="0" y="195"/>
                    <a:pt x="0" y="212"/>
                    <a:pt x="0" y="213"/>
                  </a:cubicBezTo>
                  <a:cubicBezTo>
                    <a:pt x="0" y="216"/>
                    <a:pt x="2" y="219"/>
                    <a:pt x="6" y="219"/>
                  </a:cubicBezTo>
                  <a:cubicBezTo>
                    <a:pt x="6" y="219"/>
                    <a:pt x="6" y="219"/>
                    <a:pt x="6" y="219"/>
                  </a:cubicBezTo>
                  <a:cubicBezTo>
                    <a:pt x="9" y="219"/>
                    <a:pt x="12" y="217"/>
                    <a:pt x="12" y="213"/>
                  </a:cubicBezTo>
                  <a:cubicBezTo>
                    <a:pt x="12" y="213"/>
                    <a:pt x="13" y="198"/>
                    <a:pt x="20" y="184"/>
                  </a:cubicBezTo>
                  <a:cubicBezTo>
                    <a:pt x="29" y="165"/>
                    <a:pt x="44" y="156"/>
                    <a:pt x="65" y="156"/>
                  </a:cubicBezTo>
                  <a:cubicBezTo>
                    <a:pt x="124" y="156"/>
                    <a:pt x="124" y="156"/>
                    <a:pt x="124" y="156"/>
                  </a:cubicBezTo>
                  <a:cubicBezTo>
                    <a:pt x="124" y="156"/>
                    <a:pt x="125" y="156"/>
                    <a:pt x="125" y="156"/>
                  </a:cubicBezTo>
                  <a:cubicBezTo>
                    <a:pt x="126" y="155"/>
                    <a:pt x="145" y="151"/>
                    <a:pt x="159" y="137"/>
                  </a:cubicBezTo>
                  <a:cubicBezTo>
                    <a:pt x="170" y="127"/>
                    <a:pt x="176" y="111"/>
                    <a:pt x="176" y="96"/>
                  </a:cubicBezTo>
                  <a:cubicBezTo>
                    <a:pt x="176" y="6"/>
                    <a:pt x="176" y="6"/>
                    <a:pt x="176" y="6"/>
                  </a:cubicBezTo>
                  <a:cubicBezTo>
                    <a:pt x="176" y="3"/>
                    <a:pt x="174" y="0"/>
                    <a:pt x="170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5078A9AD-A497-B978-2FE5-D5C4BCE50D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961563" y="4267200"/>
              <a:ext cx="1981200" cy="2463800"/>
            </a:xfrm>
            <a:custGeom>
              <a:avLst/>
              <a:gdLst>
                <a:gd name="T0" fmla="*/ 111 w 176"/>
                <a:gd name="T1" fmla="*/ 143 h 219"/>
                <a:gd name="T2" fmla="*/ 53 w 176"/>
                <a:gd name="T3" fmla="*/ 143 h 219"/>
                <a:gd name="T4" fmla="*/ 26 w 176"/>
                <a:gd name="T5" fmla="*/ 128 h 219"/>
                <a:gd name="T6" fmla="*/ 12 w 176"/>
                <a:gd name="T7" fmla="*/ 96 h 219"/>
                <a:gd name="T8" fmla="*/ 12 w 176"/>
                <a:gd name="T9" fmla="*/ 6 h 219"/>
                <a:gd name="T10" fmla="*/ 6 w 176"/>
                <a:gd name="T11" fmla="*/ 0 h 219"/>
                <a:gd name="T12" fmla="*/ 0 w 176"/>
                <a:gd name="T13" fmla="*/ 6 h 219"/>
                <a:gd name="T14" fmla="*/ 0 w 176"/>
                <a:gd name="T15" fmla="*/ 96 h 219"/>
                <a:gd name="T16" fmla="*/ 17 w 176"/>
                <a:gd name="T17" fmla="*/ 137 h 219"/>
                <a:gd name="T18" fmla="*/ 51 w 176"/>
                <a:gd name="T19" fmla="*/ 156 h 219"/>
                <a:gd name="T20" fmla="*/ 52 w 176"/>
                <a:gd name="T21" fmla="*/ 156 h 219"/>
                <a:gd name="T22" fmla="*/ 111 w 176"/>
                <a:gd name="T23" fmla="*/ 156 h 219"/>
                <a:gd name="T24" fmla="*/ 156 w 176"/>
                <a:gd name="T25" fmla="*/ 184 h 219"/>
                <a:gd name="T26" fmla="*/ 164 w 176"/>
                <a:gd name="T27" fmla="*/ 213 h 219"/>
                <a:gd name="T28" fmla="*/ 170 w 176"/>
                <a:gd name="T29" fmla="*/ 219 h 219"/>
                <a:gd name="T30" fmla="*/ 170 w 176"/>
                <a:gd name="T31" fmla="*/ 219 h 219"/>
                <a:gd name="T32" fmla="*/ 176 w 176"/>
                <a:gd name="T33" fmla="*/ 213 h 219"/>
                <a:gd name="T34" fmla="*/ 168 w 176"/>
                <a:gd name="T35" fmla="*/ 179 h 219"/>
                <a:gd name="T36" fmla="*/ 111 w 176"/>
                <a:gd name="T37" fmla="*/ 143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6" h="219">
                  <a:moveTo>
                    <a:pt x="111" y="143"/>
                  </a:moveTo>
                  <a:cubicBezTo>
                    <a:pt x="53" y="143"/>
                    <a:pt x="53" y="143"/>
                    <a:pt x="53" y="143"/>
                  </a:cubicBezTo>
                  <a:cubicBezTo>
                    <a:pt x="50" y="142"/>
                    <a:pt x="36" y="138"/>
                    <a:pt x="26" y="128"/>
                  </a:cubicBezTo>
                  <a:cubicBezTo>
                    <a:pt x="17" y="120"/>
                    <a:pt x="12" y="108"/>
                    <a:pt x="12" y="9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11"/>
                    <a:pt x="6" y="127"/>
                    <a:pt x="17" y="137"/>
                  </a:cubicBezTo>
                  <a:cubicBezTo>
                    <a:pt x="31" y="151"/>
                    <a:pt x="50" y="155"/>
                    <a:pt x="51" y="156"/>
                  </a:cubicBezTo>
                  <a:cubicBezTo>
                    <a:pt x="51" y="156"/>
                    <a:pt x="52" y="156"/>
                    <a:pt x="52" y="156"/>
                  </a:cubicBezTo>
                  <a:cubicBezTo>
                    <a:pt x="111" y="156"/>
                    <a:pt x="111" y="156"/>
                    <a:pt x="111" y="156"/>
                  </a:cubicBezTo>
                  <a:cubicBezTo>
                    <a:pt x="132" y="156"/>
                    <a:pt x="148" y="165"/>
                    <a:pt x="156" y="184"/>
                  </a:cubicBezTo>
                  <a:cubicBezTo>
                    <a:pt x="163" y="198"/>
                    <a:pt x="164" y="213"/>
                    <a:pt x="164" y="213"/>
                  </a:cubicBezTo>
                  <a:cubicBezTo>
                    <a:pt x="164" y="217"/>
                    <a:pt x="167" y="219"/>
                    <a:pt x="170" y="219"/>
                  </a:cubicBezTo>
                  <a:cubicBezTo>
                    <a:pt x="170" y="219"/>
                    <a:pt x="170" y="219"/>
                    <a:pt x="170" y="219"/>
                  </a:cubicBezTo>
                  <a:cubicBezTo>
                    <a:pt x="174" y="219"/>
                    <a:pt x="176" y="216"/>
                    <a:pt x="176" y="213"/>
                  </a:cubicBezTo>
                  <a:cubicBezTo>
                    <a:pt x="176" y="212"/>
                    <a:pt x="176" y="195"/>
                    <a:pt x="168" y="179"/>
                  </a:cubicBezTo>
                  <a:cubicBezTo>
                    <a:pt x="160" y="162"/>
                    <a:pt x="144" y="143"/>
                    <a:pt x="111" y="14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7172D095-C0E5-95A5-8D41-DAF6E345BF35}"/>
                </a:ext>
              </a:extLst>
            </p:cNvPr>
            <p:cNvSpPr>
              <a:spLocks/>
            </p:cNvSpPr>
            <p:nvPr/>
          </p:nvSpPr>
          <p:spPr bwMode="auto">
            <a:xfrm>
              <a:off x="9793288" y="7056438"/>
              <a:ext cx="5535612" cy="2217738"/>
            </a:xfrm>
            <a:custGeom>
              <a:avLst/>
              <a:gdLst>
                <a:gd name="T0" fmla="*/ 138 w 492"/>
                <a:gd name="T1" fmla="*/ 194 h 197"/>
                <a:gd name="T2" fmla="*/ 251 w 492"/>
                <a:gd name="T3" fmla="*/ 197 h 197"/>
                <a:gd name="T4" fmla="*/ 354 w 492"/>
                <a:gd name="T5" fmla="*/ 194 h 197"/>
                <a:gd name="T6" fmla="*/ 492 w 492"/>
                <a:gd name="T7" fmla="*/ 47 h 197"/>
                <a:gd name="T8" fmla="*/ 492 w 492"/>
                <a:gd name="T9" fmla="*/ 1 h 197"/>
                <a:gd name="T10" fmla="*/ 491 w 492"/>
                <a:gd name="T11" fmla="*/ 1 h 197"/>
                <a:gd name="T12" fmla="*/ 246 w 492"/>
                <a:gd name="T13" fmla="*/ 22 h 197"/>
                <a:gd name="T14" fmla="*/ 1 w 492"/>
                <a:gd name="T15" fmla="*/ 0 h 197"/>
                <a:gd name="T16" fmla="*/ 0 w 492"/>
                <a:gd name="T17" fmla="*/ 0 h 197"/>
                <a:gd name="T18" fmla="*/ 0 w 492"/>
                <a:gd name="T19" fmla="*/ 46 h 197"/>
                <a:gd name="T20" fmla="*/ 138 w 492"/>
                <a:gd name="T21" fmla="*/ 194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92" h="197">
                  <a:moveTo>
                    <a:pt x="138" y="194"/>
                  </a:moveTo>
                  <a:cubicBezTo>
                    <a:pt x="174" y="196"/>
                    <a:pt x="212" y="197"/>
                    <a:pt x="251" y="197"/>
                  </a:cubicBezTo>
                  <a:cubicBezTo>
                    <a:pt x="286" y="197"/>
                    <a:pt x="321" y="196"/>
                    <a:pt x="354" y="194"/>
                  </a:cubicBezTo>
                  <a:cubicBezTo>
                    <a:pt x="388" y="125"/>
                    <a:pt x="436" y="72"/>
                    <a:pt x="492" y="47"/>
                  </a:cubicBezTo>
                  <a:cubicBezTo>
                    <a:pt x="492" y="1"/>
                    <a:pt x="492" y="1"/>
                    <a:pt x="492" y="1"/>
                  </a:cubicBezTo>
                  <a:cubicBezTo>
                    <a:pt x="491" y="1"/>
                    <a:pt x="491" y="1"/>
                    <a:pt x="491" y="1"/>
                  </a:cubicBezTo>
                  <a:cubicBezTo>
                    <a:pt x="475" y="13"/>
                    <a:pt x="372" y="22"/>
                    <a:pt x="246" y="22"/>
                  </a:cubicBezTo>
                  <a:cubicBezTo>
                    <a:pt x="117" y="22"/>
                    <a:pt x="12" y="12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56" y="71"/>
                    <a:pt x="105" y="124"/>
                    <a:pt x="138" y="194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8AE081CF-1027-9816-6411-22E1D09D15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45863" y="9239250"/>
              <a:ext cx="2430462" cy="2408238"/>
            </a:xfrm>
            <a:custGeom>
              <a:avLst/>
              <a:gdLst>
                <a:gd name="T0" fmla="*/ 216 w 216"/>
                <a:gd name="T1" fmla="*/ 1 h 214"/>
                <a:gd name="T2" fmla="*/ 113 w 216"/>
                <a:gd name="T3" fmla="*/ 3 h 214"/>
                <a:gd name="T4" fmla="*/ 0 w 216"/>
                <a:gd name="T5" fmla="*/ 0 h 214"/>
                <a:gd name="T6" fmla="*/ 47 w 216"/>
                <a:gd name="T7" fmla="*/ 205 h 214"/>
                <a:gd name="T8" fmla="*/ 47 w 216"/>
                <a:gd name="T9" fmla="*/ 207 h 214"/>
                <a:gd name="T10" fmla="*/ 108 w 216"/>
                <a:gd name="T11" fmla="*/ 214 h 214"/>
                <a:gd name="T12" fmla="*/ 169 w 216"/>
                <a:gd name="T13" fmla="*/ 207 h 214"/>
                <a:gd name="T14" fmla="*/ 169 w 216"/>
                <a:gd name="T15" fmla="*/ 206 h 214"/>
                <a:gd name="T16" fmla="*/ 169 w 216"/>
                <a:gd name="T17" fmla="*/ 206 h 214"/>
                <a:gd name="T18" fmla="*/ 216 w 216"/>
                <a:gd name="T19" fmla="*/ 1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6" h="214">
                  <a:moveTo>
                    <a:pt x="216" y="1"/>
                  </a:moveTo>
                  <a:cubicBezTo>
                    <a:pt x="183" y="2"/>
                    <a:pt x="148" y="3"/>
                    <a:pt x="113" y="3"/>
                  </a:cubicBezTo>
                  <a:cubicBezTo>
                    <a:pt x="74" y="3"/>
                    <a:pt x="36" y="2"/>
                    <a:pt x="0" y="0"/>
                  </a:cubicBezTo>
                  <a:cubicBezTo>
                    <a:pt x="28" y="59"/>
                    <a:pt x="45" y="129"/>
                    <a:pt x="47" y="205"/>
                  </a:cubicBezTo>
                  <a:cubicBezTo>
                    <a:pt x="47" y="205"/>
                    <a:pt x="47" y="206"/>
                    <a:pt x="47" y="207"/>
                  </a:cubicBezTo>
                  <a:cubicBezTo>
                    <a:pt x="47" y="211"/>
                    <a:pt x="74" y="214"/>
                    <a:pt x="108" y="214"/>
                  </a:cubicBezTo>
                  <a:cubicBezTo>
                    <a:pt x="142" y="214"/>
                    <a:pt x="169" y="211"/>
                    <a:pt x="169" y="207"/>
                  </a:cubicBezTo>
                  <a:cubicBezTo>
                    <a:pt x="169" y="206"/>
                    <a:pt x="169" y="206"/>
                    <a:pt x="169" y="206"/>
                  </a:cubicBezTo>
                  <a:cubicBezTo>
                    <a:pt x="169" y="206"/>
                    <a:pt x="169" y="206"/>
                    <a:pt x="169" y="206"/>
                  </a:cubicBezTo>
                  <a:cubicBezTo>
                    <a:pt x="171" y="130"/>
                    <a:pt x="188" y="59"/>
                    <a:pt x="216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21AA87A8-08DE-F483-B70A-096FFC0DFECC}"/>
                </a:ext>
              </a:extLst>
            </p:cNvPr>
            <p:cNvSpPr>
              <a:spLocks/>
            </p:cNvSpPr>
            <p:nvPr/>
          </p:nvSpPr>
          <p:spPr bwMode="auto">
            <a:xfrm rot="16200000" flipH="1">
              <a:off x="11570498" y="12280642"/>
              <a:ext cx="1981200" cy="714892"/>
            </a:xfrm>
            <a:prstGeom prst="rightArrow">
              <a:avLst>
                <a:gd name="adj1" fmla="val 17945"/>
                <a:gd name="adj2" fmla="val 52492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</p:grpSp>
      <p:sp>
        <p:nvSpPr>
          <p:cNvPr id="13" name="Oval 12">
            <a:extLst>
              <a:ext uri="{FF2B5EF4-FFF2-40B4-BE49-F238E27FC236}">
                <a16:creationId xmlns:a16="http://schemas.microsoft.com/office/drawing/2014/main" id="{957A34CB-7267-584D-40DE-224A03CD79EE}"/>
              </a:ext>
            </a:extLst>
          </p:cNvPr>
          <p:cNvSpPr/>
          <p:nvPr/>
        </p:nvSpPr>
        <p:spPr>
          <a:xfrm>
            <a:off x="2983686" y="1645920"/>
            <a:ext cx="837091" cy="837092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BC265AF6-D7D7-7E26-BA42-72CC67F1397A}"/>
              </a:ext>
            </a:extLst>
          </p:cNvPr>
          <p:cNvSpPr/>
          <p:nvPr/>
        </p:nvSpPr>
        <p:spPr>
          <a:xfrm>
            <a:off x="3046474" y="4962746"/>
            <a:ext cx="837091" cy="837092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Inhaltsplatzhalter 4">
            <a:extLst>
              <a:ext uri="{FF2B5EF4-FFF2-40B4-BE49-F238E27FC236}">
                <a16:creationId xmlns:a16="http://schemas.microsoft.com/office/drawing/2014/main" id="{69C8F047-F4D3-C1D9-8D1E-F80B14BA7369}"/>
              </a:ext>
            </a:extLst>
          </p:cNvPr>
          <p:cNvSpPr txBox="1">
            <a:spLocks/>
          </p:cNvSpPr>
          <p:nvPr/>
        </p:nvSpPr>
        <p:spPr>
          <a:xfrm flipH="1">
            <a:off x="818801" y="2606707"/>
            <a:ext cx="3677063" cy="584775"/>
          </a:xfrm>
          <a:prstGeom prst="rect">
            <a:avLst/>
          </a:prstGeom>
          <a:effectLst/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1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accent2"/>
                </a:solidFill>
                <a:latin typeface="+mn-lt"/>
              </a:rPr>
            </a:b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16" name="Inhaltsplatzhalter 4">
            <a:extLst>
              <a:ext uri="{FF2B5EF4-FFF2-40B4-BE49-F238E27FC236}">
                <a16:creationId xmlns:a16="http://schemas.microsoft.com/office/drawing/2014/main" id="{BCE294BC-5081-8432-C2EB-DD7F821DA01A}"/>
              </a:ext>
            </a:extLst>
          </p:cNvPr>
          <p:cNvSpPr txBox="1">
            <a:spLocks/>
          </p:cNvSpPr>
          <p:nvPr/>
        </p:nvSpPr>
        <p:spPr>
          <a:xfrm flipH="1">
            <a:off x="804656" y="4146549"/>
            <a:ext cx="3699350" cy="584775"/>
          </a:xfrm>
          <a:prstGeom prst="rect">
            <a:avLst/>
          </a:prstGeom>
          <a:effectLst/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2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accent2"/>
                </a:solidFill>
                <a:latin typeface="+mn-lt"/>
              </a:rPr>
            </a:b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17" name="Inhaltsplatzhalter 4">
            <a:extLst>
              <a:ext uri="{FF2B5EF4-FFF2-40B4-BE49-F238E27FC236}">
                <a16:creationId xmlns:a16="http://schemas.microsoft.com/office/drawing/2014/main" id="{D9BB3E28-2EF9-0C07-0956-18DE8001B4F5}"/>
              </a:ext>
            </a:extLst>
          </p:cNvPr>
          <p:cNvSpPr txBox="1">
            <a:spLocks/>
          </p:cNvSpPr>
          <p:nvPr/>
        </p:nvSpPr>
        <p:spPr>
          <a:xfrm flipH="1">
            <a:off x="9334832" y="3173265"/>
            <a:ext cx="2052514" cy="923330"/>
          </a:xfrm>
          <a:prstGeom prst="rect">
            <a:avLst/>
          </a:prstGeom>
          <a:effectLst/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1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accent2"/>
                </a:solidFill>
                <a:latin typeface="+mn-lt"/>
              </a:rPr>
            </a:b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18" name="Freeform 23">
            <a:extLst>
              <a:ext uri="{FF2B5EF4-FFF2-40B4-BE49-F238E27FC236}">
                <a16:creationId xmlns:a16="http://schemas.microsoft.com/office/drawing/2014/main" id="{8DCC5102-3151-1A1B-E73E-052190A223BC}"/>
              </a:ext>
            </a:extLst>
          </p:cNvPr>
          <p:cNvSpPr>
            <a:spLocks noEditPoints="1"/>
          </p:cNvSpPr>
          <p:nvPr/>
        </p:nvSpPr>
        <p:spPr bwMode="auto">
          <a:xfrm>
            <a:off x="3207285" y="5144763"/>
            <a:ext cx="535919" cy="474606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340EB93-5F4E-36CE-EF8B-F5600828501E}"/>
              </a:ext>
            </a:extLst>
          </p:cNvPr>
          <p:cNvGrpSpPr>
            <a:grpSpLocks noChangeAspect="1"/>
          </p:cNvGrpSpPr>
          <p:nvPr/>
        </p:nvGrpSpPr>
        <p:grpSpPr>
          <a:xfrm>
            <a:off x="3145027" y="1828945"/>
            <a:ext cx="494865" cy="471042"/>
            <a:chOff x="6719888" y="887413"/>
            <a:chExt cx="492125" cy="468312"/>
          </a:xfrm>
          <a:solidFill>
            <a:schemeClr val="bg1"/>
          </a:solidFill>
          <a:effectLst/>
        </p:grpSpPr>
        <p:sp>
          <p:nvSpPr>
            <p:cNvPr id="20" name="Freeform 26">
              <a:extLst>
                <a:ext uri="{FF2B5EF4-FFF2-40B4-BE49-F238E27FC236}">
                  <a16:creationId xmlns:a16="http://schemas.microsoft.com/office/drawing/2014/main" id="{88B8CF1F-9C21-1F7F-E55E-797BEFFCF2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9888" y="887413"/>
              <a:ext cx="492125" cy="468312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27">
              <a:extLst>
                <a:ext uri="{FF2B5EF4-FFF2-40B4-BE49-F238E27FC236}">
                  <a16:creationId xmlns:a16="http://schemas.microsoft.com/office/drawing/2014/main" id="{1E4B6D04-1FF3-27FD-33A4-1E7EB53067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801" y="947738"/>
              <a:ext cx="368300" cy="247650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28">
              <a:extLst>
                <a:ext uri="{FF2B5EF4-FFF2-40B4-BE49-F238E27FC236}">
                  <a16:creationId xmlns:a16="http://schemas.microsoft.com/office/drawing/2014/main" id="{0924830A-B990-5B5B-2B77-6711D09C1E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3726" y="1201738"/>
              <a:ext cx="46038" cy="47625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29">
              <a:extLst>
                <a:ext uri="{FF2B5EF4-FFF2-40B4-BE49-F238E27FC236}">
                  <a16:creationId xmlns:a16="http://schemas.microsoft.com/office/drawing/2014/main" id="{64E251F6-D466-B731-3FE4-4EEEEACCC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813" y="1044575"/>
              <a:ext cx="61913" cy="65087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30">
              <a:extLst>
                <a:ext uri="{FF2B5EF4-FFF2-40B4-BE49-F238E27FC236}">
                  <a16:creationId xmlns:a16="http://schemas.microsoft.com/office/drawing/2014/main" id="{3FDAB5DB-409F-5C0C-B848-ADBF5154BE3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076" y="1033463"/>
              <a:ext cx="31750" cy="87312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 31">
              <a:extLst>
                <a:ext uri="{FF2B5EF4-FFF2-40B4-BE49-F238E27FC236}">
                  <a16:creationId xmlns:a16="http://schemas.microsoft.com/office/drawing/2014/main" id="{8DB44E88-E6BC-32C6-4F39-1F971FB891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9763" y="1044575"/>
              <a:ext cx="60325" cy="65087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761034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74</TotalTime>
  <Words>80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Funnel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752</cp:revision>
  <dcterms:created xsi:type="dcterms:W3CDTF">2021-03-31T02:49:57Z</dcterms:created>
  <dcterms:modified xsi:type="dcterms:W3CDTF">2025-10-15T02:55:44Z</dcterms:modified>
  <cp:category/>
</cp:coreProperties>
</file>